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bin" ContentType="application/vnd.openxmlformats-officedocument.oleObject"/>
  <Default Extension="vml" ContentType="application/vnd.openxmlformats-officedocument.vmlDrawing"/>
  <Default Extension="emf" ContentType="image/x-emf"/>
  <Default Extension="xlsb" ContentType="application/vnd.ms-excel.sheet.binary.macroEnabled.12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slides/slide227.xml" ContentType="application/vnd.openxmlformats-officedocument.presentationml.slide+xml"/>
  <Override PartName="/ppt/tags/tag1956.xml" ContentType="application/vnd.openxmlformats-officedocument.presentationml.tags+xml"/>
  <Override PartName="/ppt/tags/tag1961.xml" ContentType="application/vnd.openxmlformats-officedocument.presentationml.tags+xml"/>
  <Override PartName="/ppt/tags/tag1969.xml" ContentType="application/vnd.openxmlformats-officedocument.presentationml.tags+xml"/>
  <Override PartName="/ppt/tags/tag1982.xml" ContentType="application/vnd.openxmlformats-officedocument.presentationml.tags+xml"/>
  <Override PartName="/ppt/tags/tag1964.xml" ContentType="application/vnd.openxmlformats-officedocument.presentationml.tags+xml"/>
  <Override PartName="/ppt/tags/tag1977.xml" ContentType="application/vnd.openxmlformats-officedocument.presentationml.tags+xml"/>
  <Override PartName="/ppt/tags/tag1985.xml" ContentType="application/vnd.openxmlformats-officedocument.presentationml.tags+xml"/>
  <Override PartName="/ppt/tags/tag1990.xml" ContentType="application/vnd.openxmlformats-officedocument.presentationml.tags+xml"/>
  <Override PartName="/ppt/tags/tag1993.xml" ContentType="application/vnd.openxmlformats-officedocument.presentationml.tags+xml"/>
  <Override PartName="/ppt/tags/tag1998.xml" ContentType="application/vnd.openxmlformats-officedocument.presentationml.tags+xml"/>
  <Override PartName="/ppt/tags/tag1950.xml" ContentType="application/vnd.openxmlformats-officedocument.presentationml.tags+xml"/>
  <Override PartName="/ppt/tags/tag1945.xml" ContentType="application/vnd.openxmlformats-officedocument.presentationml.tags+xml"/>
  <Override PartName="/ppt/tags/tag1959.xml" ContentType="application/vnd.openxmlformats-officedocument.presentationml.tags+xml"/>
  <Override PartName="/ppt/tags/tag1972.xml" ContentType="application/vnd.openxmlformats-officedocument.presentationml.tags+xml"/>
  <Override PartName="/ppt/tags/tag1954.xml" ContentType="application/vnd.openxmlformats-officedocument.presentationml.tags+xml"/>
  <Override PartName="/ppt/tags/tag1967.xml" ContentType="application/vnd.openxmlformats-officedocument.presentationml.tags+xml"/>
  <Override PartName="/ppt/tags/tag1975.xml" ContentType="application/vnd.openxmlformats-officedocument.presentationml.tags+xml"/>
  <Override PartName="/ppt/tags/tag1980.xml" ContentType="application/vnd.openxmlformats-officedocument.presentationml.tags+xml"/>
  <Override PartName="/ppt/tags/tag1983.xml" ContentType="application/vnd.openxmlformats-officedocument.presentationml.tags+xml"/>
  <Override PartName="/ppt/tags/tag1988.xml" ContentType="application/vnd.openxmlformats-officedocument.presentationml.tags+xml"/>
  <Override PartName="/ppt/tags/tag1996.xml" ContentType="application/vnd.openxmlformats-officedocument.presentationml.tags+xml"/>
  <Override PartName="/ppt/tags/tag1948.xml" ContentType="application/vnd.openxmlformats-officedocument.presentationml.tags+xml"/>
  <Override PartName="/ppt/tags/tag1962.xml" ContentType="application/vnd.openxmlformats-officedocument.presentationml.tags+xml"/>
  <Override PartName="/ppt/tags/tag1947.xml" ContentType="application/vnd.openxmlformats-officedocument.presentationml.tags+xml"/>
  <Override PartName="/ppt/tags/tag1952.xml" ContentType="application/vnd.openxmlformats-officedocument.presentationml.tags+xml"/>
  <Override PartName="/ppt/tags/tag1957.xml" ContentType="application/vnd.openxmlformats-officedocument.presentationml.tags+xml"/>
  <Override PartName="/ppt/tags/tag1965.xml" ContentType="application/vnd.openxmlformats-officedocument.presentationml.tags+xml"/>
  <Override PartName="/ppt/tags/tag1970.xml" ContentType="application/vnd.openxmlformats-officedocument.presentationml.tags+xml"/>
  <Override PartName="/ppt/tags/tag1973.xml" ContentType="application/vnd.openxmlformats-officedocument.presentationml.tags+xml"/>
  <Override PartName="/ppt/tags/tag1978.xml" ContentType="application/vnd.openxmlformats-officedocument.presentationml.tags+xml"/>
  <Override PartName="/ppt/tags/tag1986.xml" ContentType="application/vnd.openxmlformats-officedocument.presentationml.tags+xml"/>
  <Override PartName="/ppt/tags/tag1991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1951.xml" ContentType="application/vnd.openxmlformats-officedocument.presentationml.tags+xml"/>
  <Override PartName="/ppt/tags/tag1994.xml" ContentType="application/vnd.openxmlformats-officedocument.presentationml.tags+xml"/>
  <Override PartName="/ppt/tags/tag1946.xml" ContentType="application/vnd.openxmlformats-officedocument.presentationml.tags+xml"/>
  <Override PartName="/ppt/tags/tag1955.xml" ContentType="application/vnd.openxmlformats-officedocument.presentationml.tags+xml"/>
  <Override PartName="/ppt/tags/tag1960.xml" ContentType="application/vnd.openxmlformats-officedocument.presentationml.tags+xml"/>
  <Override PartName="/ppt/tags/tag1968.xml" ContentType="application/vnd.openxmlformats-officedocument.presentationml.tags+xml"/>
  <Override PartName="/ppt/tags/tag1976.xml" ContentType="application/vnd.openxmlformats-officedocument.presentationml.tags+xml"/>
  <Override PartName="/ppt/tags/tag1981.xml" ContentType="application/vnd.openxmlformats-officedocument.presentationml.tags+xml"/>
  <Override PartName="/ppt/tags/tag1989.xml" ContentType="application/vnd.openxmlformats-officedocument.presentationml.tags+xml"/>
  <Override PartName="/ppt/tags/tag1963.xml" ContentType="application/vnd.openxmlformats-officedocument.presentationml.tags+xml"/>
  <Override PartName="/ppt/tags/tag1984.xml" ContentType="application/vnd.openxmlformats-officedocument.presentationml.tags+xml"/>
  <Override PartName="/ppt/tags/tag1997.xml" ContentType="application/vnd.openxmlformats-officedocument.presentationml.tags+xml"/>
  <Override PartName="/ppt/tags/tag1949.xml" ContentType="application/vnd.openxmlformats-officedocument.presentationml.tags+xml"/>
  <Override PartName="/ppt/tags/tag1958.xml" ContentType="application/vnd.openxmlformats-officedocument.presentationml.tags+xml"/>
  <Override PartName="/ppt/tags/tag1966.xml" ContentType="application/vnd.openxmlformats-officedocument.presentationml.tags+xml"/>
  <Override PartName="/ppt/tags/tag1971.xml" ContentType="application/vnd.openxmlformats-officedocument.presentationml.tags+xml"/>
  <Override PartName="/ppt/tags/tag1979.xml" ContentType="application/vnd.openxmlformats-officedocument.presentationml.tags+xml"/>
  <Override PartName="/ppt/tags/tag1992.xml" ContentType="application/vnd.openxmlformats-officedocument.presentationml.tags+xml"/>
  <Override PartName="/ppt/notesSlides/notesSlide227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1953.xml" ContentType="application/vnd.openxmlformats-officedocument.presentationml.tags+xml"/>
  <Override PartName="/ppt/tags/tag1974.xml" ContentType="application/vnd.openxmlformats-officedocument.presentationml.tags+xml"/>
  <Override PartName="/ppt/tags/tag1987.xml" ContentType="application/vnd.openxmlformats-officedocument.presentationml.tags+xml"/>
  <Override PartName="/ppt/tags/tag1995.xml" ContentType="application/vnd.openxmlformats-officedocument.presentationml.tags+xml"/>
  <Override PartName="/ppt/charts/chart61.xml" ContentType="application/vnd.openxmlformats-officedocument.drawingml.chart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518" r:id="rId230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openxmlformats.org/officeDocument/2006/relationships/slide" Target="/ppt/slides/slide227.xml" Id="rId230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charts/_rels/chart61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60.xlsb" Id="rId1" /></Relationships>
</file>

<file path=ppt/charts/chart6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945064197011155E-2"/>
          <c:y val="2.7125717266562335E-2"/>
          <c:w val="0.97810987160597773"/>
          <c:h val="0.94574856546687536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4F3-4A50-8376-2DAA8A8B3698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4F3-4A50-8376-2DAA8A8B3698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B4F3-4A50-8376-2DAA8A8B3698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B4F3-4A50-8376-2DAA8A8B3698}"/>
              </c:ext>
            </c:extLst>
          </c:dPt>
          <c:val>
            <c:numRef>
              <c:f>Sheet1!$A$1:$G$1</c:f>
              <c:numCache>
                <c:formatCode>General</c:formatCode>
                <c:ptCount val="7"/>
                <c:pt idx="0">
                  <c:v>4567</c:v>
                </c:pt>
                <c:pt idx="1">
                  <c:v>21440</c:v>
                </c:pt>
                <c:pt idx="2">
                  <c:v>49727</c:v>
                </c:pt>
                <c:pt idx="3">
                  <c:v>35048</c:v>
                </c:pt>
                <c:pt idx="4">
                  <c:v>35048</c:v>
                </c:pt>
                <c:pt idx="5">
                  <c:v>23313</c:v>
                </c:pt>
                <c:pt idx="6">
                  <c:v>233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4F3-4A50-8376-2DAA8A8B3698}"/>
            </c:ext>
          </c:extLst>
        </c:ser>
        <c:ser>
          <c:idx val="1"/>
          <c:order val="1"/>
          <c:spPr>
            <a:solidFill>
              <a:schemeClr val="accent6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B4F3-4A50-8376-2DAA8A8B3698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B4F3-4A50-8376-2DAA8A8B3698}"/>
              </c:ext>
            </c:extLst>
          </c:dPt>
          <c:val>
            <c:numRef>
              <c:f>Sheet1!$A$2:$G$2</c:f>
              <c:numCache>
                <c:formatCode>General</c:formatCode>
                <c:ptCount val="7"/>
                <c:pt idx="0">
                  <c:v>16873</c:v>
                </c:pt>
                <c:pt idx="1">
                  <c:v>3454</c:v>
                </c:pt>
                <c:pt idx="3">
                  <c:v>6785</c:v>
                </c:pt>
                <c:pt idx="5">
                  <c:v>53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B4F3-4A50-8376-2DAA8A8B3698}"/>
            </c:ext>
          </c:extLst>
        </c:ser>
        <c:ser>
          <c:idx val="2"/>
          <c:order val="2"/>
          <c:spPr>
            <a:solidFill>
              <a:schemeClr val="accent5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B4F3-4A50-8376-2DAA8A8B3698}"/>
              </c:ext>
            </c:extLst>
          </c:dPt>
          <c:val>
            <c:numRef>
              <c:f>Sheet1!$A$3:$G$3</c:f>
              <c:numCache>
                <c:formatCode>General</c:formatCode>
                <c:ptCount val="7"/>
                <c:pt idx="1">
                  <c:v>24833</c:v>
                </c:pt>
                <c:pt idx="3">
                  <c:v>7894</c:v>
                </c:pt>
                <c:pt idx="5">
                  <c:v>64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B4F3-4A50-8376-2DAA8A8B36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83659407"/>
        <c:axId val="1"/>
      </c:barChart>
      <c:catAx>
        <c:axId val="98365940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+mn-lt"/>
                <a:ea typeface="+mn-ea"/>
                <a:cs typeface="+mn-cs"/>
              </a:defRPr>
            </a:pPr>
            <a:endParaRPr lang="zh-CN"/>
          </a:p>
        </c:txPr>
        <c:crossAx val="983659407"/>
        <c:crosses val="min"/>
        <c:crossBetween val="between"/>
        <c:majorUnit val="5000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31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27.xml.rels>&#65279;<?xml version="1.0" encoding="utf-8"?><Relationships xmlns="http://schemas.openxmlformats.org/package/2006/relationships"><Relationship Type="http://schemas.openxmlformats.org/officeDocument/2006/relationships/slide" Target="/ppt/slides/slide227.xml" Id="rId2" /><Relationship Type="http://schemas.openxmlformats.org/officeDocument/2006/relationships/notesMaster" Target="/ppt/notesMasters/notesMaster1.xml" Id="rId1" /></Relationships>
</file>

<file path=ppt/notesSlides/notesSlide2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4566091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27.xml.rels>&#65279;<?xml version="1.0" encoding="utf-8"?><Relationships xmlns="http://schemas.openxmlformats.org/package/2006/relationships"><Relationship Type="http://schemas.openxmlformats.org/officeDocument/2006/relationships/tags" Target="/ppt/tags/tag1956.xml" Id="rId13" /><Relationship Type="http://schemas.openxmlformats.org/officeDocument/2006/relationships/tags" Target="/ppt/tags/tag1961.xml" Id="rId18" /><Relationship Type="http://schemas.openxmlformats.org/officeDocument/2006/relationships/tags" Target="/ppt/tags/tag1969.xml" Id="rId26" /><Relationship Type="http://schemas.openxmlformats.org/officeDocument/2006/relationships/tags" Target="/ppt/tags/tag1982.xml" Id="rId39" /><Relationship Type="http://schemas.openxmlformats.org/officeDocument/2006/relationships/tags" Target="/ppt/tags/tag1964.xml" Id="rId21" /><Relationship Type="http://schemas.openxmlformats.org/officeDocument/2006/relationships/tags" Target="/ppt/tags/tag1977.xml" Id="rId34" /><Relationship Type="http://schemas.openxmlformats.org/officeDocument/2006/relationships/tags" Target="/ppt/tags/tag1985.xml" Id="rId42" /><Relationship Type="http://schemas.openxmlformats.org/officeDocument/2006/relationships/tags" Target="/ppt/tags/tag1990.xml" Id="rId47" /><Relationship Type="http://schemas.openxmlformats.org/officeDocument/2006/relationships/tags" Target="/ppt/tags/tag1993.xml" Id="rId50" /><Relationship Type="http://schemas.openxmlformats.org/officeDocument/2006/relationships/tags" Target="/ppt/tags/tag1998.xml" Id="rId55" /><Relationship Type="http://schemas.openxmlformats.org/officeDocument/2006/relationships/tags" Target="/ppt/tags/tag1950.xml" Id="rId7" /><Relationship Type="http://schemas.openxmlformats.org/officeDocument/2006/relationships/tags" Target="/ppt/tags/tag1945.xml" Id="rId2" /><Relationship Type="http://schemas.openxmlformats.org/officeDocument/2006/relationships/tags" Target="/ppt/tags/tag1959.xml" Id="rId16" /><Relationship Type="http://schemas.openxmlformats.org/officeDocument/2006/relationships/tags" Target="/ppt/tags/tag1972.xml" Id="rId29" /><Relationship Type="http://schemas.openxmlformats.org/officeDocument/2006/relationships/tags" Target="/ppt/tags/tag1954.xml" Id="rId11" /><Relationship Type="http://schemas.openxmlformats.org/officeDocument/2006/relationships/tags" Target="/ppt/tags/tag1967.xml" Id="rId24" /><Relationship Type="http://schemas.openxmlformats.org/officeDocument/2006/relationships/tags" Target="/ppt/tags/tag1975.xml" Id="rId32" /><Relationship Type="http://schemas.openxmlformats.org/officeDocument/2006/relationships/tags" Target="/ppt/tags/tag1980.xml" Id="rId37" /><Relationship Type="http://schemas.openxmlformats.org/officeDocument/2006/relationships/tags" Target="/ppt/tags/tag1983.xml" Id="rId40" /><Relationship Type="http://schemas.openxmlformats.org/officeDocument/2006/relationships/tags" Target="/ppt/tags/tag1988.xml" Id="rId45" /><Relationship Type="http://schemas.openxmlformats.org/officeDocument/2006/relationships/tags" Target="/ppt/tags/tag1996.xml" Id="rId53" /><Relationship Type="http://schemas.openxmlformats.org/officeDocument/2006/relationships/oleObject" Target="/ppt/embeddings/oleObject231.bin" Id="rId58" /><Relationship Type="http://schemas.openxmlformats.org/officeDocument/2006/relationships/tags" Target="/ppt/tags/tag1948.xml" Id="rId5" /><Relationship Type="http://schemas.openxmlformats.org/officeDocument/2006/relationships/tags" Target="/ppt/tags/tag1962.xml" Id="rId19" /><Relationship Type="http://schemas.openxmlformats.org/officeDocument/2006/relationships/tags" Target="/ppt/tags/tag1947.xml" Id="rId4" /><Relationship Type="http://schemas.openxmlformats.org/officeDocument/2006/relationships/tags" Target="/ppt/tags/tag1952.xml" Id="rId9" /><Relationship Type="http://schemas.openxmlformats.org/officeDocument/2006/relationships/tags" Target="/ppt/tags/tag1957.xml" Id="rId14" /><Relationship Type="http://schemas.openxmlformats.org/officeDocument/2006/relationships/tags" Target="/ppt/tags/tag1965.xml" Id="rId22" /><Relationship Type="http://schemas.openxmlformats.org/officeDocument/2006/relationships/tags" Target="/ppt/tags/tag1970.xml" Id="rId27" /><Relationship Type="http://schemas.openxmlformats.org/officeDocument/2006/relationships/tags" Target="/ppt/tags/tag1973.xml" Id="rId30" /><Relationship Type="http://schemas.openxmlformats.org/officeDocument/2006/relationships/tags" Target="/ppt/tags/tag1978.xml" Id="rId35" /><Relationship Type="http://schemas.openxmlformats.org/officeDocument/2006/relationships/tags" Target="/ppt/tags/tag1986.xml" Id="rId43" /><Relationship Type="http://schemas.openxmlformats.org/officeDocument/2006/relationships/tags" Target="/ppt/tags/tag1991.xml" Id="rId48" /><Relationship Type="http://schemas.openxmlformats.org/officeDocument/2006/relationships/slideLayout" Target="/ppt/slideLayouts/slideLayout5.xml" Id="rId56" /><Relationship Type="http://schemas.openxmlformats.org/officeDocument/2006/relationships/tags" Target="/ppt/tags/tag1951.xml" Id="rId8" /><Relationship Type="http://schemas.openxmlformats.org/officeDocument/2006/relationships/tags" Target="/ppt/tags/tag1994.xml" Id="rId51" /><Relationship Type="http://schemas.openxmlformats.org/officeDocument/2006/relationships/tags" Target="/ppt/tags/tag1946.xml" Id="rId3" /><Relationship Type="http://schemas.openxmlformats.org/officeDocument/2006/relationships/tags" Target="/ppt/tags/tag1955.xml" Id="rId12" /><Relationship Type="http://schemas.openxmlformats.org/officeDocument/2006/relationships/tags" Target="/ppt/tags/tag1960.xml" Id="rId17" /><Relationship Type="http://schemas.openxmlformats.org/officeDocument/2006/relationships/tags" Target="/ppt/tags/tag1968.xml" Id="rId25" /><Relationship Type="http://schemas.openxmlformats.org/officeDocument/2006/relationships/tags" Target="/ppt/tags/tag1976.xml" Id="rId33" /><Relationship Type="http://schemas.openxmlformats.org/officeDocument/2006/relationships/tags" Target="/ppt/tags/tag1981.xml" Id="rId38" /><Relationship Type="http://schemas.openxmlformats.org/officeDocument/2006/relationships/tags" Target="/ppt/tags/tag1989.xml" Id="rId46" /><Relationship Type="http://schemas.openxmlformats.org/officeDocument/2006/relationships/image" Target="/ppt/media/image4.emf" Id="rId59" /><Relationship Type="http://schemas.openxmlformats.org/officeDocument/2006/relationships/tags" Target="/ppt/tags/tag1963.xml" Id="rId20" /><Relationship Type="http://schemas.openxmlformats.org/officeDocument/2006/relationships/tags" Target="/ppt/tags/tag1984.xml" Id="rId41" /><Relationship Type="http://schemas.openxmlformats.org/officeDocument/2006/relationships/tags" Target="/ppt/tags/tag1997.xml" Id="rId54" /><Relationship Type="http://schemas.openxmlformats.org/officeDocument/2006/relationships/vmlDrawing" Target="/ppt/drawings/vmlDrawing231.vml" Id="rId1" /><Relationship Type="http://schemas.openxmlformats.org/officeDocument/2006/relationships/tags" Target="/ppt/tags/tag1949.xml" Id="rId6" /><Relationship Type="http://schemas.openxmlformats.org/officeDocument/2006/relationships/tags" Target="/ppt/tags/tag1958.xml" Id="rId15" /><Relationship Type="http://schemas.openxmlformats.org/officeDocument/2006/relationships/tags" Target="/ppt/tags/tag1966.xml" Id="rId23" /><Relationship Type="http://schemas.openxmlformats.org/officeDocument/2006/relationships/tags" Target="/ppt/tags/tag1971.xml" Id="rId28" /><Relationship Type="http://schemas.openxmlformats.org/officeDocument/2006/relationships/tags" Target="/ppt/tags/tag1979.xml" Id="rId36" /><Relationship Type="http://schemas.openxmlformats.org/officeDocument/2006/relationships/tags" Target="/ppt/tags/tag1992.xml" Id="rId49" /><Relationship Type="http://schemas.openxmlformats.org/officeDocument/2006/relationships/notesSlide" Target="/ppt/notesSlides/notesSlide227.xml" Id="rId57" /><Relationship Type="http://schemas.openxmlformats.org/officeDocument/2006/relationships/tags" Target="/ppt/tags/tag1953.xml" Id="rId10" /><Relationship Type="http://schemas.openxmlformats.org/officeDocument/2006/relationships/tags" Target="/ppt/tags/tag1974.xml" Id="rId31" /><Relationship Type="http://schemas.openxmlformats.org/officeDocument/2006/relationships/tags" Target="/ppt/tags/tag1987.xml" Id="rId44" /><Relationship Type="http://schemas.openxmlformats.org/officeDocument/2006/relationships/tags" Target="/ppt/tags/tag1995.xml" Id="rId52" /><Relationship Type="http://schemas.openxmlformats.org/officeDocument/2006/relationships/chart" Target="/ppt/charts/chart61.xml" Id="rId60" /></Relationships>
</file>

<file path=ppt/slides/slide22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4920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03" name="think-cell 幻灯片" r:id="rId58" imgW="349" imgH="350" progId="TCLayout.ActiveDocument.1">
                  <p:embed/>
                </p:oleObj>
              </mc:Choice>
              <mc:Fallback>
                <p:oleObj name="think-cell 幻灯片" r:id="rId58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spc="-30"/>
              <a:t>Contribution to change: Build-up w</a:t>
            </a:r>
            <a:r>
              <a:rPr lang="en-US" altLang="en-US" spc="-30"/>
              <a:t>aterfall</a:t>
            </a:r>
            <a:endParaRPr lang="en-US"/>
          </a:p>
        </p:txBody>
      </p:sp>
      <p:cxnSp>
        <p:nvCxnSpPr>
          <p:cNvPr id="2" name="Straight Connector 9">
            <a:extLst>
              <a:ext uri="{FF2B5EF4-FFF2-40B4-BE49-F238E27FC236}">
                <a16:creationId xmlns:a16="http://schemas.microsoft.com/office/drawing/2014/main" id="{4671867A-F2A9-9BAE-28D3-61B9F378919F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 bwMode="auto">
          <a:xfrm>
            <a:off x="2649538" y="2314575"/>
            <a:ext cx="4683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Connector 8">
            <a:extLst>
              <a:ext uri="{FF2B5EF4-FFF2-40B4-BE49-F238E27FC236}">
                <a16:creationId xmlns:a16="http://schemas.microsoft.com/office/drawing/2014/main" id="{9AAEF18E-5405-0DB8-0E37-986E37DD117B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>
            <a:off x="1595438" y="3943350"/>
            <a:ext cx="4683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22">
            <a:extLst>
              <a:ext uri="{FF2B5EF4-FFF2-40B4-BE49-F238E27FC236}">
                <a16:creationId xmlns:a16="http://schemas.microsoft.com/office/drawing/2014/main" id="{35BF65CE-9095-C0BA-379A-A0790C031004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>
            <a:off x="6864350" y="3835400"/>
            <a:ext cx="4683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147">
            <a:extLst>
              <a:ext uri="{FF2B5EF4-FFF2-40B4-BE49-F238E27FC236}">
                <a16:creationId xmlns:a16="http://schemas.microsoft.com/office/drawing/2014/main" id="{5C483F4E-F639-201B-4BE6-46BB68A31CF5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auto">
          <a:xfrm>
            <a:off x="5810250" y="3159125"/>
            <a:ext cx="4683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21">
            <a:extLst>
              <a:ext uri="{FF2B5EF4-FFF2-40B4-BE49-F238E27FC236}">
                <a16:creationId xmlns:a16="http://schemas.microsoft.com/office/drawing/2014/main" id="{497A6FFE-F1E7-A613-0277-19B550EE41F7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auto">
          <a:xfrm>
            <a:off x="4757738" y="3159125"/>
            <a:ext cx="4667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" name="Straight Connector 19">
            <a:extLst>
              <a:ext uri="{FF2B5EF4-FFF2-40B4-BE49-F238E27FC236}">
                <a16:creationId xmlns:a16="http://schemas.microsoft.com/office/drawing/2014/main" id="{384EAB23-E082-E5E1-AC69-F8BE070E3783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 bwMode="auto">
          <a:xfrm>
            <a:off x="3703638" y="2314575"/>
            <a:ext cx="4683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67" name="Chart 3">
            <a:extLst>
              <a:ext uri="{FF2B5EF4-FFF2-40B4-BE49-F238E27FC236}">
                <a16:creationId xmlns:a16="http://schemas.microsoft.com/office/drawing/2014/main" id="{0F5EBCC3-0F1D-4DB6-824E-7F9DD1475DFB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630067811"/>
              </p:ext>
            </p:extLst>
          </p:nvPr>
        </p:nvGraphicFramePr>
        <p:xfrm>
          <a:off x="693738" y="2216150"/>
          <a:ext cx="7542212" cy="3043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0"/>
          </a:graphicData>
        </a:graphic>
      </p:graphicFrame>
      <p:sp>
        <p:nvSpPr>
          <p:cNvPr id="14" name="Rectangle 128">
            <a:extLst>
              <a:ext uri="{FF2B5EF4-FFF2-40B4-BE49-F238E27FC236}">
                <a16:creationId xmlns:a16="http://schemas.microsoft.com/office/drawing/2014/main" id="{FF95EF2E-0CE3-90A1-A7CA-F2753D6F62D2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484187" y="5086350"/>
            <a:ext cx="11588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DCA973A-EF4E-408A-9642-B3CE2FD68264}" type="datetime'''''''''''0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Rectangle 129">
            <a:extLst>
              <a:ext uri="{FF2B5EF4-FFF2-40B4-BE49-F238E27FC236}">
                <a16:creationId xmlns:a16="http://schemas.microsoft.com/office/drawing/2014/main" id="{046C7D81-AA5E-5358-E3D1-ECA112A74B5E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487363" y="4799013"/>
            <a:ext cx="11271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55BD331-34AE-495C-9C5D-8874520937A7}" type="datetime'''''''''''''''''''''''''''''''''''5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Rectangle 130">
            <a:extLst>
              <a:ext uri="{FF2B5EF4-FFF2-40B4-BE49-F238E27FC236}">
                <a16:creationId xmlns:a16="http://schemas.microsoft.com/office/drawing/2014/main" id="{430F4499-24D6-99D9-25B3-F7F773F44EE1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409575" y="4510088"/>
            <a:ext cx="190500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7981626-8752-4976-BE93-442091180243}" type="datetime'''1''''''''''''0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9" name="Rectangle 131">
            <a:extLst>
              <a:ext uri="{FF2B5EF4-FFF2-40B4-BE49-F238E27FC236}">
                <a16:creationId xmlns:a16="http://schemas.microsoft.com/office/drawing/2014/main" id="{FECC346F-E78C-20F0-22B2-2FBAAF663D0A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412751" y="4222750"/>
            <a:ext cx="1873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D72E988-9EBF-4CF4-8D70-39BF587138A7}" type="datetime'''''''''''1''5''''''''''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1" name="Rectangle 132">
            <a:extLst>
              <a:ext uri="{FF2B5EF4-FFF2-40B4-BE49-F238E27FC236}">
                <a16:creationId xmlns:a16="http://schemas.microsoft.com/office/drawing/2014/main" id="{8D0CBE24-E893-908C-9C44-095E924BF4D6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373063" y="3935413"/>
            <a:ext cx="22701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A48ABF3-A287-404B-9E73-018385758F23}" type="datetime'''''''''''''2''0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Rectangle 134">
            <a:extLst>
              <a:ext uri="{FF2B5EF4-FFF2-40B4-BE49-F238E27FC236}">
                <a16:creationId xmlns:a16="http://schemas.microsoft.com/office/drawing/2014/main" id="{AB507A8B-A6C0-1770-CD9A-7A801B7A9C72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374650" y="3359150"/>
            <a:ext cx="2254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A8C24F3-2A34-4894-9DBF-DAC5F8D3822D}" type="datetime'3''''''''0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3" name="Rectangle 135">
            <a:extLst>
              <a:ext uri="{FF2B5EF4-FFF2-40B4-BE49-F238E27FC236}">
                <a16:creationId xmlns:a16="http://schemas.microsoft.com/office/drawing/2014/main" id="{AC278B8C-9C56-B9CF-720F-1CED5AA59D0B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377825" y="3071813"/>
            <a:ext cx="222250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E59D2DC-242E-4733-80EE-75F4D5D54C5C}" type="datetime'''''''''''''''''''''''''''''''''3''''''''''5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5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3" name="Rectangle 136">
            <a:extLst>
              <a:ext uri="{FF2B5EF4-FFF2-40B4-BE49-F238E27FC236}">
                <a16:creationId xmlns:a16="http://schemas.microsoft.com/office/drawing/2014/main" id="{9614511C-233E-58E1-F0F5-33D76707D179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369888" y="2784475"/>
            <a:ext cx="23018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86A8090-5F55-4F4E-A091-E13DFB45F67B}" type="datetime'''''''''''''40''''''''''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5" name="Rectangle 137">
            <a:extLst>
              <a:ext uri="{FF2B5EF4-FFF2-40B4-BE49-F238E27FC236}">
                <a16:creationId xmlns:a16="http://schemas.microsoft.com/office/drawing/2014/main" id="{CE43C029-A88D-CDB8-6A29-9E347718DAE1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gray">
          <a:xfrm>
            <a:off x="373063" y="2495550"/>
            <a:ext cx="22701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B9287D2-BDA7-4EC3-ABFA-B12D59B18999}" type="datetime'''''''45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5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Rectangle 39">
            <a:extLst>
              <a:ext uri="{FF2B5EF4-FFF2-40B4-BE49-F238E27FC236}">
                <a16:creationId xmlns:a16="http://schemas.microsoft.com/office/drawing/2014/main" id="{215474CC-5E8B-6B92-0722-BE15DDDFADBB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371475" y="2208213"/>
            <a:ext cx="228600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BB4AA7B-152E-462C-9D54-6B0B09EF6BD7}" type="datetime'''''''''5''''''''''''''''''''''''''''''''''0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0" name="Rectangle 133">
            <a:extLst>
              <a:ext uri="{FF2B5EF4-FFF2-40B4-BE49-F238E27FC236}">
                <a16:creationId xmlns:a16="http://schemas.microsoft.com/office/drawing/2014/main" id="{5D996CEF-F5A2-9E93-C895-88D2B8175E7A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376238" y="3648075"/>
            <a:ext cx="22383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A142A52-E21E-4BC1-B233-30C263803D2D}" type="datetime'''''''2''5''''''''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5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C2AB0AC1-BC66-8115-FC17-1EF7BEAA15B5}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 bwMode="auto">
          <a:xfrm>
            <a:off x="4757738" y="2314575"/>
            <a:ext cx="2762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5B14217C-6C6C-DD11-D653-D76804463ABE}"/>
              </a:ext>
            </a:extLst>
          </p:cNvPr>
          <p:cNvCxnSpPr>
            <a:cxnSpLocks/>
          </p:cNvCxnSpPr>
          <p:nvPr>
            <p:custDataLst>
              <p:tags r:id="rId22"/>
            </p:custDataLst>
          </p:nvPr>
        </p:nvCxnSpPr>
        <p:spPr bwMode="auto">
          <a:xfrm>
            <a:off x="4991100" y="2311400"/>
            <a:ext cx="0" cy="85090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Rectangle 140">
            <a:extLst>
              <a:ext uri="{FF2B5EF4-FFF2-40B4-BE49-F238E27FC236}">
                <a16:creationId xmlns:a16="http://schemas.microsoft.com/office/drawing/2014/main" id="{4718579C-F69C-5E7B-63B2-AB38AA9A9A4D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371475" y="1852613"/>
            <a:ext cx="280511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>
                <a:solidFill>
                  <a:schemeClr val="bg2">
                    <a:lumMod val="10000"/>
                  </a:schemeClr>
                </a:solidFill>
                <a:effectLst/>
              </a:rPr>
              <a:t>Revenues, costs, totals [USD bn]</a:t>
            </a:r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Rectangle 36">
            <a:extLst>
              <a:ext uri="{FF2B5EF4-FFF2-40B4-BE49-F238E27FC236}">
                <a16:creationId xmlns:a16="http://schemas.microsoft.com/office/drawing/2014/main" id="{21FFB6BA-92F1-EA43-7327-57CC7247F60A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1190625" y="4332288"/>
            <a:ext cx="222250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1BF989F-125C-4C21-815D-E949D7664F38}" type="datetime'''''''''''''''''''''''''''''1''''''''''''''''7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7" name="Rectangle 35">
            <a:extLst>
              <a:ext uri="{FF2B5EF4-FFF2-40B4-BE49-F238E27FC236}">
                <a16:creationId xmlns:a16="http://schemas.microsoft.com/office/drawing/2014/main" id="{AE10CC92-DFF0-840A-0051-8D961F476089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1220788" y="4949825"/>
            <a:ext cx="16351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335F07A-55D1-4E28-A711-D7F9107430AF}" type="datetime'''5'''''''''''''''''''''''''''''''''''">
              <a:rPr lang="en-US" altLang="en-US" sz="1400" smtClean="0">
                <a:solidFill>
                  <a:schemeClr val="bg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36" name="Rectangle 45">
            <a:extLst>
              <a:ext uri="{FF2B5EF4-FFF2-40B4-BE49-F238E27FC236}">
                <a16:creationId xmlns:a16="http://schemas.microsoft.com/office/drawing/2014/main" id="{28D79A6C-B12C-FC6C-1EB5-11997C9F9799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1117600" y="5235575"/>
            <a:ext cx="36830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23F95F8-2B08-4E34-A8BF-603069963C26}" type="datetime'''''''''''''''''''''''''''''''''''''''''''''B''2''''''''B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B2B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2" name="Rectangle 141">
            <a:extLst>
              <a:ext uri="{FF2B5EF4-FFF2-40B4-BE49-F238E27FC236}">
                <a16:creationId xmlns:a16="http://schemas.microsoft.com/office/drawing/2014/main" id="{1349BB7B-FD98-1512-DC12-E9B263A19259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6489700" y="3248025"/>
            <a:ext cx="1619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A8A3AEF-58CC-4BB3-899B-B4EEB75FD786}" type="datetime'''''''''''''''''''''''''''''''''''''''''''''''''6'''">
              <a:rPr lang="en-US" altLang="en-US" sz="1400" smtClean="0">
                <a:solidFill>
                  <a:schemeClr val="bg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33" name="Rectangle 38">
            <a:extLst>
              <a:ext uri="{FF2B5EF4-FFF2-40B4-BE49-F238E27FC236}">
                <a16:creationId xmlns:a16="http://schemas.microsoft.com/office/drawing/2014/main" id="{BDF3CD34-44E0-F9CC-5489-578E4789792D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6489700" y="3586163"/>
            <a:ext cx="16351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434F90D-73EC-4BB8-ABD9-5E03FFF16572}" type="datetime'''''5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4" name="Rectangle 149">
            <a:extLst>
              <a:ext uri="{FF2B5EF4-FFF2-40B4-BE49-F238E27FC236}">
                <a16:creationId xmlns:a16="http://schemas.microsoft.com/office/drawing/2014/main" id="{3C999B6B-7311-CF23-E306-DD2913F24CC0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6310313" y="5235575"/>
            <a:ext cx="52070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82F0D48-6A40-4CC4-9A58-97D202623A90}" type="datetime'''S''''G''''&amp;''''''''''''''''''''''''''''''''''''''''''''''A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SG&amp;A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5" name="Rectangle 50">
            <a:extLst>
              <a:ext uri="{FF2B5EF4-FFF2-40B4-BE49-F238E27FC236}">
                <a16:creationId xmlns:a16="http://schemas.microsoft.com/office/drawing/2014/main" id="{9A379318-DAC2-E3E7-AF0B-67007CC5B398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7418388" y="5235575"/>
            <a:ext cx="4127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9BDD4E7-26C4-47ED-99F6-AD7CF8D939B5}" type="datetime'''''''''''''''''''''''E''''B''''''''IT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EBIT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1" name="Rectangle 48">
            <a:extLst>
              <a:ext uri="{FF2B5EF4-FFF2-40B4-BE49-F238E27FC236}">
                <a16:creationId xmlns:a16="http://schemas.microsoft.com/office/drawing/2014/main" id="{44B63EB3-F3B2-656B-D064-713CC8B5CC24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4192588" y="5235575"/>
            <a:ext cx="54451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D90DA3D-D9D9-4B4C-91F3-6DF40224BF6E}" type="datetime'''''''''''''''''''CO''''''''''G''S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COGS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Rectangle 17">
            <a:extLst>
              <a:ext uri="{FF2B5EF4-FFF2-40B4-BE49-F238E27FC236}">
                <a16:creationId xmlns:a16="http://schemas.microsoft.com/office/drawing/2014/main" id="{230CAC79-A5B1-BACC-152C-BD1BAAB086D2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gray">
          <a:xfrm>
            <a:off x="4391025" y="2868613"/>
            <a:ext cx="14763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D69B96F-C366-4CA4-8ACF-F4471164B597}" type="datetime'''''''''''''''''''''''''''''''''''''''''''''''7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9" name="Rectangle 16">
            <a:extLst>
              <a:ext uri="{FF2B5EF4-FFF2-40B4-BE49-F238E27FC236}">
                <a16:creationId xmlns:a16="http://schemas.microsoft.com/office/drawing/2014/main" id="{F5B9F528-D24F-E199-D777-8C5BDBBE2E96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gray">
          <a:xfrm>
            <a:off x="4381499" y="2446338"/>
            <a:ext cx="165100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630A982-580D-4194-A7EA-708D676647AC}" type="datetime'''''''''''''''''8'''''''''''''''''''''''''''''''''''''''''''''">
              <a:rPr lang="en-US" altLang="en-US" sz="1400" smtClean="0">
                <a:solidFill>
                  <a:schemeClr val="bg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28" name="Rectangle 47">
            <a:extLst>
              <a:ext uri="{FF2B5EF4-FFF2-40B4-BE49-F238E27FC236}">
                <a16:creationId xmlns:a16="http://schemas.microsoft.com/office/drawing/2014/main" id="{19396F30-D04E-AAE0-BEF9-7FDBF515E638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3033713" y="5235575"/>
            <a:ext cx="7524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6A61F61-9F52-4D3B-B07B-B1A456E97BC5}" type="datetime'''''Re''''''''''''''''ve''''''''''''''n''''''u''''''''''e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Revenue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7" name="Rectangle 46">
            <a:extLst>
              <a:ext uri="{FF2B5EF4-FFF2-40B4-BE49-F238E27FC236}">
                <a16:creationId xmlns:a16="http://schemas.microsoft.com/office/drawing/2014/main" id="{F186C917-184A-6E05-D6BC-87B91D2D9C49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2166938" y="5235575"/>
            <a:ext cx="37782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C691F1C-B12C-4F78-B552-5ED5976FBCC6}" type="datetime'''''''''B''''''''''''''''''''''''''''''''''''''''''''''2''C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B2C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5" name="Rectangle 41">
            <a:extLst>
              <a:ext uri="{FF2B5EF4-FFF2-40B4-BE49-F238E27FC236}">
                <a16:creationId xmlns:a16="http://schemas.microsoft.com/office/drawing/2014/main" id="{F0857BD4-A2DD-A07D-D7BD-52BEFD972FC8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2276474" y="3748088"/>
            <a:ext cx="16033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F668CB0-A3E9-4B60-93D2-EF893697D4E2}" type="datetime'''''''''''''''''''''''''''''''''3'''''''''''''''''''''''''''''">
              <a:rPr lang="en-US" altLang="en-US" sz="1400" smtClean="0">
                <a:solidFill>
                  <a:schemeClr val="bg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39" name="Rectangle 53">
            <a:extLst>
              <a:ext uri="{FF2B5EF4-FFF2-40B4-BE49-F238E27FC236}">
                <a16:creationId xmlns:a16="http://schemas.microsoft.com/office/drawing/2014/main" id="{6D79EB61-4284-8AE0-8AD1-3C6DC3FBDFA8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gray">
          <a:xfrm>
            <a:off x="1184275" y="3725863"/>
            <a:ext cx="23653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4378F1D-E467-4613-A917-AA7B637F9176}" type="datetime'''''''''''''2''''''''''''''1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0" name="Rectangle 54">
            <a:extLst>
              <a:ext uri="{FF2B5EF4-FFF2-40B4-BE49-F238E27FC236}">
                <a16:creationId xmlns:a16="http://schemas.microsoft.com/office/drawing/2014/main" id="{BC5C7A88-7278-0E05-BF24-3CBF9BF2AEA6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gray">
          <a:xfrm>
            <a:off x="2217738" y="2097088"/>
            <a:ext cx="2762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2EE1B8B-8644-4B99-A619-738F7089143F}" type="datetime'''''''2''''''''''''''8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8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Rectangle 49">
            <a:extLst>
              <a:ext uri="{FF2B5EF4-FFF2-40B4-BE49-F238E27FC236}">
                <a16:creationId xmlns:a16="http://schemas.microsoft.com/office/drawing/2014/main" id="{412DA6D2-82C0-3C3E-622F-B8BE1042D949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5207000" y="5235575"/>
            <a:ext cx="619125" cy="42545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256D7BE-E7B7-45B8-B93C-27F2553F0CEB}" type="datetime'''''''''G''''''''ros''s m''''a''''r''''g''''i''''''''''''''n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Gross margin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2" name="Rectangle 61">
            <a:extLst>
              <a:ext uri="{FF2B5EF4-FFF2-40B4-BE49-F238E27FC236}">
                <a16:creationId xmlns:a16="http://schemas.microsoft.com/office/drawing/2014/main" id="{CE2C4B56-D3E2-3AAA-57EB-5BC67290EDF0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4300538" y="3184525"/>
            <a:ext cx="3270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205F302-6AA2-4A94-B7A0-96016A03208D}" type="datetime'''-''''''''''''''''15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-15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Rectangle 62">
            <a:extLst>
              <a:ext uri="{FF2B5EF4-FFF2-40B4-BE49-F238E27FC236}">
                <a16:creationId xmlns:a16="http://schemas.microsoft.com/office/drawing/2014/main" id="{9E1FF824-FFC0-19E8-7A45-C11E829FA3EA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5380038" y="2941638"/>
            <a:ext cx="273050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80B0BD7-66DE-41AF-991F-40E59657B32B}" type="datetime'''''''''3''''''''''''''''''''''''''''''''''''''''''''''5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5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3" name="Rectangle 12">
            <a:extLst>
              <a:ext uri="{FF2B5EF4-FFF2-40B4-BE49-F238E27FC236}">
                <a16:creationId xmlns:a16="http://schemas.microsoft.com/office/drawing/2014/main" id="{835BF584-5AC8-36A6-2117-51456822BA13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6408738" y="3860800"/>
            <a:ext cx="32543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6564825-E856-4C28-AC03-AF0B086C743F}" type="datetime'''''''''''''''-''''1''2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-12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4" name="Rectangle 127">
            <a:extLst>
              <a:ext uri="{FF2B5EF4-FFF2-40B4-BE49-F238E27FC236}">
                <a16:creationId xmlns:a16="http://schemas.microsoft.com/office/drawing/2014/main" id="{1816DB6E-02FE-B949-D010-E11601D2366C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gray">
          <a:xfrm>
            <a:off x="7489825" y="3617913"/>
            <a:ext cx="2714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A4CD4F6-191C-486A-9476-3D082888A6B1}" type="datetime'''''''''''''2''''''''''''3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3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1" name="Rectangle 60">
            <a:extLst>
              <a:ext uri="{FF2B5EF4-FFF2-40B4-BE49-F238E27FC236}">
                <a16:creationId xmlns:a16="http://schemas.microsoft.com/office/drawing/2014/main" id="{DC627A34-02A8-BB5B-FD91-7AEDF344805C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gray">
          <a:xfrm>
            <a:off x="3270250" y="2097088"/>
            <a:ext cx="279400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F2EC6D0-E53A-4762-9C99-BFD9610983B4}" type="datetime'''''''''''''5''''''''0''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5081587" y="2586038"/>
            <a:ext cx="679450" cy="301625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84306F3-2B7E-47E1-8BAF-68C3479E56EB}" type="datetime'''''''''''''''''''''''''-3''''''0''''''''''''''''''''%'">
              <a:rPr lang="en-US" altLang="en-US" sz="1400" b="1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30%</a:t>
            </a:fld>
            <a:endParaRPr lang="en-US" sz="1400" b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7" name="Rectangle 6">
            <a:extLst>
              <a:ext uri="{FF2B5EF4-FFF2-40B4-BE49-F238E27FC236}">
                <a16:creationId xmlns:a16="http://schemas.microsoft.com/office/drawing/2014/main" id="{DE8DDA57-B0D1-557D-F3CB-B0DFA54D6DF2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2582863" y="5775325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tangle 30">
            <a:extLst>
              <a:ext uri="{FF2B5EF4-FFF2-40B4-BE49-F238E27FC236}">
                <a16:creationId xmlns:a16="http://schemas.microsoft.com/office/drawing/2014/main" id="{BB3EEC37-2AE6-CA9D-F68F-0AF394D7727C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3319463" y="5775325"/>
            <a:ext cx="250825" cy="187325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10">
            <a:extLst>
              <a:ext uri="{FF2B5EF4-FFF2-40B4-BE49-F238E27FC236}">
                <a16:creationId xmlns:a16="http://schemas.microsoft.com/office/drawing/2014/main" id="{248F1E76-1C2D-CC39-AF03-510CF15AA7EF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4092575" y="5775325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ectangle 23">
            <a:extLst>
              <a:ext uri="{FF2B5EF4-FFF2-40B4-BE49-F238E27FC236}">
                <a16:creationId xmlns:a16="http://schemas.microsoft.com/office/drawing/2014/main" id="{4BD0CFC4-E2E6-1DBC-9441-A2B504869704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5037138" y="5775325"/>
            <a:ext cx="250825" cy="187325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ectangle 24">
            <a:extLst>
              <a:ext uri="{FF2B5EF4-FFF2-40B4-BE49-F238E27FC236}">
                <a16:creationId xmlns:a16="http://schemas.microsoft.com/office/drawing/2014/main" id="{FAFCA6DC-1A0E-FC4D-AD13-3D360F0FC82E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5773738" y="5775325"/>
            <a:ext cx="250825" cy="187325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ctangle 1">
            <a:extLst>
              <a:ext uri="{FF2B5EF4-FFF2-40B4-BE49-F238E27FC236}">
                <a16:creationId xmlns:a16="http://schemas.microsoft.com/office/drawing/2014/main" id="{43F88573-7136-B57B-D320-B85721E38AD5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auto">
          <a:xfrm>
            <a:off x="2884488" y="5770563"/>
            <a:ext cx="3333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8EBB8967-87BF-4517-BEEB-058FC8D63145}" type="datetime'''''''''''''''B''''''''''U''''''''''1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BU1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4" name="Rectangle 26">
            <a:extLst>
              <a:ext uri="{FF2B5EF4-FFF2-40B4-BE49-F238E27FC236}">
                <a16:creationId xmlns:a16="http://schemas.microsoft.com/office/drawing/2014/main" id="{DE2B3C3E-29CB-E66C-E724-B0CB6C17A435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3621087" y="5770563"/>
            <a:ext cx="3698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5BCAE031-2DA2-415D-86AF-0D57C81D85CC}" type="datetime'''''''''''''B''''''''''U2''''''''''''''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BU2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5" name="Rectangle 3">
            <a:extLst>
              <a:ext uri="{FF2B5EF4-FFF2-40B4-BE49-F238E27FC236}">
                <a16:creationId xmlns:a16="http://schemas.microsoft.com/office/drawing/2014/main" id="{43EFEC97-2CD5-69DA-28A0-60710939D895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4394200" y="5770563"/>
            <a:ext cx="54133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A064394A-B30D-4811-A427-5DDC17A69498}" type="datetime'''T''o''''''t''''''''''a''''''''l''''''''''''s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Totals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6" name="Rectangle 11">
            <a:extLst>
              <a:ext uri="{FF2B5EF4-FFF2-40B4-BE49-F238E27FC236}">
                <a16:creationId xmlns:a16="http://schemas.microsoft.com/office/drawing/2014/main" id="{904AB192-6C20-1F4A-D24B-7D9904E809BD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5338763" y="5770563"/>
            <a:ext cx="3333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0EA9B3BA-D914-4D30-947E-66DC0E04E660}" type="datetime'''''''''B''U''''''''''''''''1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BU1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3" name="Rectangle 13">
            <a:extLst>
              <a:ext uri="{FF2B5EF4-FFF2-40B4-BE49-F238E27FC236}">
                <a16:creationId xmlns:a16="http://schemas.microsoft.com/office/drawing/2014/main" id="{AC256553-94CB-D433-4427-765913A58206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6075362" y="5770563"/>
            <a:ext cx="3698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90D20B19-CA01-493A-81E9-9B7CB69D0689}" type="datetime'''''''''''''B''''''''U''''''''''2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BU2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7" name="Text Placeholder 15">
            <a:extLst>
              <a:ext uri="{FF2B5EF4-FFF2-40B4-BE49-F238E27FC236}">
                <a16:creationId xmlns:a16="http://schemas.microsoft.com/office/drawing/2014/main" id="{DF364995-E5DC-0A5D-334E-FE8DE9909EC2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361498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think-cell, chart, charts, graph, graphs, comment</a:t>
            </a:r>
          </a:p>
        </p:txBody>
      </p:sp>
      <p:sp>
        <p:nvSpPr>
          <p:cNvPr id="70" name="Rechteck 137">
            <a:extLst>
              <a:ext uri="{FF2B5EF4-FFF2-40B4-BE49-F238E27FC236}">
                <a16:creationId xmlns:a16="http://schemas.microsoft.com/office/drawing/2014/main" id="{19F53A14-24BF-EF15-C0D7-0591C62366BA}"/>
              </a:ext>
            </a:extLst>
          </p:cNvPr>
          <p:cNvSpPr>
            <a:spLocks/>
          </p:cNvSpPr>
          <p:nvPr/>
        </p:nvSpPr>
        <p:spPr>
          <a:xfrm>
            <a:off x="8454706" y="1809132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>
              <a:buClr>
                <a:srgbClr val="000000"/>
              </a:buClr>
            </a:pP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grpSp>
        <p:nvGrpSpPr>
          <p:cNvPr id="71" name="tc_columnheader">
            <a:extLst>
              <a:ext uri="{FF2B5EF4-FFF2-40B4-BE49-F238E27FC236}">
                <a16:creationId xmlns:a16="http://schemas.microsoft.com/office/drawing/2014/main" id="{4683CD60-475D-17BF-2BAE-DCD093397EEB}"/>
              </a:ext>
            </a:extLst>
          </p:cNvPr>
          <p:cNvGrpSpPr/>
          <p:nvPr/>
        </p:nvGrpSpPr>
        <p:grpSpPr>
          <a:xfrm>
            <a:off x="407987" y="1526560"/>
            <a:ext cx="7745413" cy="282573"/>
            <a:chOff x="407988" y="1526560"/>
            <a:chExt cx="5576400" cy="282573"/>
          </a:xfrm>
        </p:grpSpPr>
        <p:sp>
          <p:nvSpPr>
            <p:cNvPr id="72" name="tc_columnhead">
              <a:extLst>
                <a:ext uri="{FF2B5EF4-FFF2-40B4-BE49-F238E27FC236}">
                  <a16:creationId xmlns:a16="http://schemas.microsoft.com/office/drawing/2014/main" id="{4A298023-C220-7F96-F1F3-CA1C8120C5FA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a-DK" sz="1600" b="0">
                  <a:solidFill>
                    <a:schemeClr val="tx1"/>
                  </a:solidFill>
                </a:rPr>
                <a:t>Insert chart title here</a:t>
              </a:r>
              <a:endParaRPr lang="en-US" sz="1600" b="0">
                <a:solidFill>
                  <a:schemeClr val="tx1"/>
                </a:solidFill>
              </a:endParaRPr>
            </a:p>
          </p:txBody>
        </p:sp>
        <p:cxnSp>
          <p:nvCxnSpPr>
            <p:cNvPr id="74" name="tc_columnheadline">
              <a:extLst>
                <a:ext uri="{FF2B5EF4-FFF2-40B4-BE49-F238E27FC236}">
                  <a16:creationId xmlns:a16="http://schemas.microsoft.com/office/drawing/2014/main" id="{06D11850-45A4-1DF7-D748-C6623EF6D87A}"/>
                </a:ext>
              </a:extLst>
            </p:cNvPr>
            <p:cNvCxnSpPr>
              <a:cxnSpLocks/>
              <a:stCxn id="72" idx="4"/>
              <a:endCxn id="72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5" name="tc_columnheader">
            <a:extLst>
              <a:ext uri="{FF2B5EF4-FFF2-40B4-BE49-F238E27FC236}">
                <a16:creationId xmlns:a16="http://schemas.microsoft.com/office/drawing/2014/main" id="{E8222B8D-8046-CA7C-C5C7-C513470097D3}"/>
              </a:ext>
            </a:extLst>
          </p:cNvPr>
          <p:cNvGrpSpPr/>
          <p:nvPr/>
        </p:nvGrpSpPr>
        <p:grpSpPr>
          <a:xfrm>
            <a:off x="8454707" y="1526560"/>
            <a:ext cx="3365818" cy="282573"/>
            <a:chOff x="407988" y="1526560"/>
            <a:chExt cx="5576400" cy="282573"/>
          </a:xfrm>
        </p:grpSpPr>
        <p:sp>
          <p:nvSpPr>
            <p:cNvPr id="77" name="tc_columnhead">
              <a:extLst>
                <a:ext uri="{FF2B5EF4-FFF2-40B4-BE49-F238E27FC236}">
                  <a16:creationId xmlns:a16="http://schemas.microsoft.com/office/drawing/2014/main" id="{7992848C-C442-2682-2C63-20349022D776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0">
                  <a:solidFill>
                    <a:schemeClr val="tx1"/>
                  </a:solidFill>
                </a:rPr>
                <a:t>Comments</a:t>
              </a:r>
            </a:p>
          </p:txBody>
        </p:sp>
        <p:cxnSp>
          <p:nvCxnSpPr>
            <p:cNvPr id="78" name="tc_columnheadline">
              <a:extLst>
                <a:ext uri="{FF2B5EF4-FFF2-40B4-BE49-F238E27FC236}">
                  <a16:creationId xmlns:a16="http://schemas.microsoft.com/office/drawing/2014/main" id="{34C8D12E-CE8A-33F6-816A-CFF30DB55DA4}"/>
                </a:ext>
              </a:extLst>
            </p:cNvPr>
            <p:cNvCxnSpPr>
              <a:cxnSpLocks/>
              <a:stCxn id="77" idx="4"/>
              <a:endCxn id="77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Rectangle 18">
            <a:extLst>
              <a:ext uri="{FF2B5EF4-FFF2-40B4-BE49-F238E27FC236}">
                <a16:creationId xmlns:a16="http://schemas.microsoft.com/office/drawing/2014/main" id="{31347C90-13BE-6C35-C34D-AF48CAD25B66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>
                <a:solidFill>
                  <a:schemeClr val="tx1"/>
                </a:solidFill>
              </a:rPr>
              <a:t>This slide contains a </a:t>
            </a:r>
            <a:r>
              <a:rPr lang="en-US" sz="1200" b="1" u="sng">
                <a:solidFill>
                  <a:schemeClr val="tx1"/>
                </a:solidFill>
              </a:rPr>
              <a:t>think-cell chart</a:t>
            </a:r>
            <a:r>
              <a:rPr lang="en-US" sz="1200" u="sng">
                <a:solidFill>
                  <a:schemeClr val="tx1"/>
                </a:solidFill>
              </a:rPr>
              <a:t>.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</a:t>
            </a:r>
            <a:r>
              <a:rPr lang="en-US" sz="1200" b="1">
                <a:solidFill>
                  <a:schemeClr val="tx1"/>
                </a:solidFill>
              </a:rPr>
              <a:t> open the chart's internal datasheet</a:t>
            </a:r>
            <a:r>
              <a:rPr lang="en-US" sz="1200">
                <a:solidFill>
                  <a:schemeClr val="tx1"/>
                </a:solidFill>
              </a:rPr>
              <a:t>, double-click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any empty space in the chart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add annotations </a:t>
            </a:r>
            <a:r>
              <a:rPr lang="en-US" sz="1200">
                <a:solidFill>
                  <a:schemeClr val="tx1"/>
                </a:solidFill>
              </a:rPr>
              <a:t>(e.g., labels),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right-click the chart or a chart feature to open the context menu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change the style and formatting</a:t>
            </a:r>
            <a:r>
              <a:rPr lang="en-US" sz="1200">
                <a:solidFill>
                  <a:schemeClr val="tx1"/>
                </a:solidFill>
              </a:rPr>
              <a:t> of the chart or a feature,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click the chart or feature to open the mini toolbar.</a:t>
            </a:r>
            <a:endParaRPr lang="en-US" sz="1200">
              <a:solidFill>
                <a:schemeClr val="tx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69885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htetR8p0xHUzYFleudsA"/>
</p:tagLst>
</file>

<file path=ppt/tags/tag1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tlO6h8XATfUvn0GMh0ZA"/>
</p:tagLst>
</file>

<file path=ppt/tags/tag1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Mhi0OhuoPFljnp0XrhpQ"/>
</p:tagLst>
</file>

<file path=ppt/tags/tag1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8mI972TPTZRXnH64_RgQ"/>
</p:tagLst>
</file>

<file path=ppt/tags/tag1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BgtFqqL2xJjBqprWxucg"/>
</p:tagLst>
</file>

<file path=ppt/tags/tag1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qIDPGrPn.crqF4Z6hiSw"/>
</p:tagLst>
</file>

<file path=ppt/tags/tag1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iP_Dh_An8C2NE9D3Mgxg"/>
</p:tagLst>
</file>

<file path=ppt/tags/tag1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0w4Z9vr2s.0lZQZ_GEwA"/>
</p:tagLst>
</file>

<file path=ppt/tags/tag1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b.vPiW7h2hbLtQlDljIg"/>
</p:tagLst>
</file>

<file path=ppt/tags/tag1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7Jnq3E4m5kVoMvopzM2ug"/>
</p:tagLst>
</file>

<file path=ppt/tags/tag1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QOXWDyv5ODh_IKbgo0oQ"/>
</p:tagLst>
</file>

<file path=ppt/tags/tag1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LViuU371biU1om4f3vrg"/>
</p:tagLst>
</file>

<file path=ppt/tags/tag1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KDyYgVe0gGRTdxaUMbnA"/>
</p:tagLst>
</file>

<file path=ppt/tags/tag1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tDzXAoN8n8p6pNd4Xanw"/>
</p:tagLst>
</file>

<file path=ppt/tags/tag1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uMJwT.GCPfoB0T5cdV0g"/>
</p:tagLst>
</file>

<file path=ppt/tags/tag1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n95qNoag629EDluOifmQ"/>
</p:tagLst>
</file>

<file path=ppt/tags/tag1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BhbCMKbUj36jD.zc21bA"/>
</p:tagLst>
</file>

<file path=ppt/tags/tag1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7VWsRYOLVYIjMq4Hl5XA"/>
</p:tagLst>
</file>

<file path=ppt/tags/tag1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W_LOukGx0tUMB3HBBajg"/>
</p:tagLst>
</file>

<file path=ppt/tags/tag1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7oQ_gMkTcdifrxsXkGng"/>
</p:tagLst>
</file>

<file path=ppt/tags/tag1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C8vIJMYXVhZqTgv6XDmCw"/>
</p:tagLst>
</file>

<file path=ppt/tags/tag1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tnjGsnQnSjoOnmkFCLOg"/>
</p:tagLst>
</file>

<file path=ppt/tags/tag1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EOXTDnpb5J0MTjdeNSbA"/>
</p:tagLst>
</file>

<file path=ppt/tags/tag1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vCPEbnWzwFIDV_NTA_VQ"/>
</p:tagLst>
</file>

<file path=ppt/tags/tag1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TYmKy8tJCi_jm0Hry6uw"/>
</p:tagLst>
</file>

<file path=ppt/tags/tag1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47KqCHgLbh.fa6y7iIVw"/>
</p:tagLst>
</file>

<file path=ppt/tags/tag1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nomO0HQgc8jDSuWa.kdw"/>
</p:tagLst>
</file>

<file path=ppt/tags/tag1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vf5fEJYxiIINRw1ZW3Hg"/>
</p:tagLst>
</file>

<file path=ppt/tags/tag1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ZHWfJP2pSnqWSq_MrL6g"/>
</p:tagLst>
</file>

<file path=ppt/tags/tag1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okgBRFjJ_3Ng6jTfSvPw"/>
</p:tagLst>
</file>

<file path=ppt/tags/tag1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3H3liDsN2isLDJ.RtRLA"/>
</p:tagLst>
</file>

<file path=ppt/tags/tag1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DW5d3KhvAQnno7hldlnA"/>
</p:tagLst>
</file>

<file path=ppt/tags/tag1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u66j0WziGWWKpUPWRK7A"/>
</p:tagLst>
</file>

<file path=ppt/tags/tag1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DM0MG3g5He8ATWYJN7_A"/>
</p:tagLst>
</file>

<file path=ppt/tags/tag1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V3HK_8OXuiXGF8DoGbwA"/>
</p:tagLst>
</file>

<file path=ppt/tags/tag1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BYM16LaAcLQ9qf12Nmrw"/>
</p:tagLst>
</file>

<file path=ppt/tags/tag1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PNEnWKMaLio1zI_p8ZCA"/>
</p:tagLst>
</file>

<file path=ppt/tags/tag1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8v1whwZ8CO2Y2a13CGug"/>
</p:tagLst>
</file>

<file path=ppt/tags/tag1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O2uaVKgFSe9tgHvjilsA"/>
</p:tagLst>
</file>

<file path=ppt/tags/tag1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dIbe_BuOqCkKnK.rDB2g"/>
</p:tagLst>
</file>

<file path=ppt/tags/tag1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SeAZrzytqAnkF8Nlt7hw"/>
</p:tagLst>
</file>

<file path=ppt/tags/tag1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e2xeaDXyvem8v96OAKuA"/>
</p:tagLst>
</file>

<file path=ppt/tags/tag1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O2orA7kKTE1P6UY1wCNA"/>
</p:tagLst>
</file>

<file path=ppt/tags/tag1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vP2ubAAwA0yQYIJxURag"/>
</p:tagLst>
</file>

<file path=ppt/tags/tag1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68rGO7qyRf5g2kLd2KVQ"/>
</p:tagLst>
</file>

<file path=ppt/tags/tag1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brmvgTxRJWXfB.LxKA6w"/>
</p:tagLst>
</file>

<file path=ppt/tags/tag1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6wRQFHUYghDdKpDUygoQ"/>
</p:tagLst>
</file>

<file path=ppt/tags/tag1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423bqR9EsAfpRa57fgTw"/>
</p:tagLst>
</file>

<file path=ppt/tags/tag1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LcUv_h.8VNA.mYUgjmug"/>
</p:tagLst>
</file>

<file path=ppt/tags/tag1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qkKF5UjCNHBb0e8THb1Q"/>
</p:tagLst>
</file>

<file path=ppt/tags/tag1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vFAXKwBSi8bHpk2rLn9A"/>
</p:tagLst>
</file>

<file path=ppt/tags/tag1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UJKywRWJaIYKsucm7z5w"/>
</p:tagLst>
</file>

<file path=ppt/tags/tag1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XXYjd_DTWPTrz0enQmi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